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055" r:id="rId4"/>
    <p:sldMasterId id="2147484062" r:id="rId5"/>
    <p:sldMasterId id="2147484073" r:id="rId6"/>
  </p:sldMasterIdLst>
  <p:notesMasterIdLst>
    <p:notesMasterId r:id="rId9"/>
  </p:notesMasterIdLst>
  <p:handoutMasterIdLst>
    <p:handoutMasterId r:id="rId10"/>
  </p:handoutMasterIdLst>
  <p:sldIdLst>
    <p:sldId id="257" r:id="rId7"/>
    <p:sldId id="2147374872" r:id="rId8"/>
  </p:sldIdLst>
  <p:sldSz cx="12192000" cy="6858000"/>
  <p:notesSz cx="6858000" cy="9144000"/>
  <p:embeddedFontLst>
    <p:embeddedFont>
      <p:font typeface="Ubuntu" panose="020B050403060203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eekly Status Report" id="{2AC87FFF-C56C-4F81-A530-CF4D1204AE80}">
          <p14:sldIdLst>
            <p14:sldId id="257"/>
            <p14:sldId id="2147374872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C000"/>
    <a:srgbClr val="EAF0F7"/>
    <a:srgbClr val="57CF80"/>
    <a:srgbClr val="92D050"/>
    <a:srgbClr val="FFFFFF"/>
    <a:srgbClr val="00AFF0"/>
    <a:srgbClr val="00B0F0"/>
    <a:srgbClr val="D9D9D9"/>
    <a:srgbClr val="FFF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3ECE55-B6E4-4A55-81C8-52D01FF6D3E6}" v="920" vWet="922" dt="2023-10-05T15:26:27.310"/>
    <p1510:client id="{58A64E88-7348-4D41-8CFB-0F536DE7214F}" v="299" vWet="301" dt="2023-10-05T13:17:28.045"/>
    <p1510:client id="{72C0334A-8058-4442-BE00-6D923271D8DB}" v="1031" dt="2023-10-05T14:13:32.601"/>
    <p1510:client id="{7516009B-2537-4A8D-991D-7F08BAB5FC5B}" v="61" vWet="63" dt="2023-10-05T11:43:34.652"/>
    <p1510:client id="{9276D02E-E90A-4C84-8E48-F384A249EAF3}" v="463" dt="2023-10-05T15:26:53.637"/>
    <p1510:client id="{CFCF5012-847A-4BB7-80B5-9E44919126FF}" v="96" dt="2023-10-05T13:12:47.424"/>
    <p1510:client id="{D77A0E4C-76C1-4914-A662-808E5F447144}" v="128" dt="2023-10-05T14:08:57.586"/>
    <p1510:client id="{DEB0D97A-6237-4E89-8984-E7DEB1BA8602}" v="565" dt="2023-10-05T12:04:01.4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54" d="100"/>
          <a:sy n="154" d="100"/>
        </p:scale>
        <p:origin x="534" y="132"/>
      </p:cViewPr>
      <p:guideLst>
        <p:guide orient="horz" pos="234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3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font" Target="fonts/font2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font" Target="fonts/font1.fntdata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handoutMaster" Target="handoutMasters/handoutMaster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10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10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20108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4244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05575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0324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EF29FC-859B-4DA7-A251-EF8A52B91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481BB-FD58-439D-A5D1-337CD4CDBD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100" y="1219200"/>
            <a:ext cx="11353800" cy="48101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9619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2322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EF29FC-859B-4DA7-A251-EF8A52B91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073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44130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03664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186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4758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38830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593987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6619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2614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72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62979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80283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9773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74185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880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9895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70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141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  <p:sldLayoutId id="2147484064" r:id="rId2"/>
    <p:sldLayoutId id="2147484065" r:id="rId3"/>
    <p:sldLayoutId id="2147484066" r:id="rId4"/>
    <p:sldLayoutId id="2147484067" r:id="rId5"/>
    <p:sldLayoutId id="2147484068" r:id="rId6"/>
    <p:sldLayoutId id="2147484069" r:id="rId7"/>
    <p:sldLayoutId id="2147484070" r:id="rId8"/>
    <p:sldLayoutId id="2147484071" r:id="rId9"/>
    <p:sldLayoutId id="2147484072" r:id="rId1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61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55888395-44DA-44D6-8EAB-C2E7A7FC3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dirty="0" err="1"/>
              <a:t>Mone</a:t>
            </a:r>
            <a:r>
              <a:rPr lang="en-US" sz="5400" dirty="0"/>
              <a:t>-G Germany Pilot </a:t>
            </a:r>
            <a:r>
              <a:rPr kumimoji="0" lang="en-GB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(DM </a:t>
            </a:r>
            <a:r>
              <a:rPr kumimoji="0" lang="en-GB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Stream)</a:t>
            </a:r>
            <a:r>
              <a:rPr kumimoji="0" lang="en-GB" sz="5400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 </a:t>
            </a:r>
            <a:br>
              <a:rPr lang="en-US" sz="5400" dirty="0"/>
            </a:br>
            <a:r>
              <a:rPr kumimoji="0" lang="en-GB" sz="48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Weekly status Report</a:t>
            </a:r>
            <a:br>
              <a:rPr lang="en-GB" sz="6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</a:br>
            <a:r>
              <a:rPr lang="pl-PL" sz="2000" cap="all" spc="0" dirty="0">
                <a:cs typeface="+mj-cs"/>
              </a:rPr>
              <a:t>October</a:t>
            </a:r>
            <a:r>
              <a:rPr lang="en-GB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  <a:t> </a:t>
            </a:r>
            <a:r>
              <a:rPr lang="pl-PL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  <a:t>2</a:t>
            </a:r>
            <a:r>
              <a:rPr lang="en-GB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  <a:t> – </a:t>
            </a:r>
            <a:r>
              <a:rPr lang="pl-PL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cs typeface="+mj-cs"/>
              </a:rPr>
              <a:t>october</a:t>
            </a:r>
            <a:r>
              <a:rPr lang="en-GB" sz="2000" cap="all" spc="0" dirty="0">
                <a:cs typeface="+mj-cs"/>
              </a:rPr>
              <a:t> </a:t>
            </a:r>
            <a:r>
              <a:rPr lang="pl-PL" sz="2000" cap="all" spc="0" dirty="0">
                <a:cs typeface="+mj-cs"/>
              </a:rPr>
              <a:t>6</a:t>
            </a:r>
            <a:endParaRPr lang="en-AU" sz="2000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8C571B9-A27E-4E70-AFBF-07F6E1DADB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1</a:t>
            </a:fld>
            <a:endParaRPr lang="ja-JP" altLang="en-US"/>
          </a:p>
        </p:txBody>
      </p:sp>
      <p:sp>
        <p:nvSpPr>
          <p:cNvPr id="5" name="フッター プレースホルダー 2">
            <a:extLst>
              <a:ext uri="{FF2B5EF4-FFF2-40B4-BE49-F238E27FC236}">
                <a16:creationId xmlns:a16="http://schemas.microsoft.com/office/drawing/2014/main" id="{EFDCEE51-FC54-45B2-B98C-44D513263F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64034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B2D9A-314F-4620-98FD-BCE609C07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Migration Status Summ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EFD65-8D49-42C5-AAA6-2C57476EF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394356-8693-4048-8EAF-2BF05B04AA80}" type="slidenum">
              <a:rPr kumimoji="1" lang="ja-JP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panose="020B0600070205080204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A1BE2F-2B0A-4CFB-9CAA-FCEFEACF5A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panose="020B0600070205080204" pitchFamily="34" charset="-128"/>
                <a:cs typeface="+mn-cs"/>
              </a:rPr>
              <a:t>Mitsubishi Chemical Group   </a:t>
            </a:r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C5761A3-179D-41D3-8FFD-711F4A2649B0}"/>
              </a:ext>
            </a:extLst>
          </p:cNvPr>
          <p:cNvSpPr/>
          <p:nvPr/>
        </p:nvSpPr>
        <p:spPr>
          <a:xfrm>
            <a:off x="6873260" y="892820"/>
            <a:ext cx="182880" cy="182880"/>
          </a:xfrm>
          <a:prstGeom prst="ellipse">
            <a:avLst/>
          </a:prstGeom>
          <a:solidFill>
            <a:srgbClr val="57CF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538065B-33DB-4C66-A53B-5A21E68D9922}"/>
              </a:ext>
            </a:extLst>
          </p:cNvPr>
          <p:cNvSpPr/>
          <p:nvPr/>
        </p:nvSpPr>
        <p:spPr>
          <a:xfrm>
            <a:off x="7722346" y="892820"/>
            <a:ext cx="182880" cy="18288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159D7B-521D-47B4-918F-115E3E8A786D}"/>
              </a:ext>
            </a:extLst>
          </p:cNvPr>
          <p:cNvSpPr/>
          <p:nvPr/>
        </p:nvSpPr>
        <p:spPr>
          <a:xfrm>
            <a:off x="9259410" y="892820"/>
            <a:ext cx="182880" cy="18288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6288617-CBC4-4C8B-99D1-5892CAAA1F61}"/>
              </a:ext>
            </a:extLst>
          </p:cNvPr>
          <p:cNvSpPr/>
          <p:nvPr/>
        </p:nvSpPr>
        <p:spPr>
          <a:xfrm>
            <a:off x="10481040" y="892820"/>
            <a:ext cx="182880" cy="18288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B4002B8-D34A-46A4-A21C-9970F93EED81}"/>
              </a:ext>
            </a:extLst>
          </p:cNvPr>
          <p:cNvSpPr txBox="1"/>
          <p:nvPr/>
        </p:nvSpPr>
        <p:spPr>
          <a:xfrm>
            <a:off x="7010400" y="861150"/>
            <a:ext cx="6735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Ti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87837B2-039E-4DA2-A921-B4751DCB5F62}"/>
              </a:ext>
            </a:extLst>
          </p:cNvPr>
          <p:cNvSpPr txBox="1"/>
          <p:nvPr/>
        </p:nvSpPr>
        <p:spPr>
          <a:xfrm>
            <a:off x="7847767" y="861150"/>
            <a:ext cx="14350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ight delay expect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09C852-B209-4742-9833-03B7208870B9}"/>
              </a:ext>
            </a:extLst>
          </p:cNvPr>
          <p:cNvSpPr txBox="1"/>
          <p:nvPr/>
        </p:nvSpPr>
        <p:spPr>
          <a:xfrm>
            <a:off x="9399099" y="861150"/>
            <a:ext cx="10871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ay expec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DA4A56-6D63-44E6-BA7B-9DD5DA7F4230}"/>
              </a:ext>
            </a:extLst>
          </p:cNvPr>
          <p:cNvSpPr txBox="1"/>
          <p:nvPr/>
        </p:nvSpPr>
        <p:spPr>
          <a:xfrm>
            <a:off x="10599624" y="861150"/>
            <a:ext cx="14895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ll lead to challeng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D0E7BF2-BFC3-8149-269C-D50111EAD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7363032"/>
              </p:ext>
            </p:extLst>
          </p:nvPr>
        </p:nvGraphicFramePr>
        <p:xfrm>
          <a:off x="102867" y="1161998"/>
          <a:ext cx="11986268" cy="306612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47675">
                  <a:extLst>
                    <a:ext uri="{9D8B030D-6E8A-4147-A177-3AD203B41FA5}">
                      <a16:colId xmlns:a16="http://schemas.microsoft.com/office/drawing/2014/main" val="1383655945"/>
                    </a:ext>
                  </a:extLst>
                </a:gridCol>
                <a:gridCol w="1357980">
                  <a:extLst>
                    <a:ext uri="{9D8B030D-6E8A-4147-A177-3AD203B41FA5}">
                      <a16:colId xmlns:a16="http://schemas.microsoft.com/office/drawing/2014/main" val="2990992242"/>
                    </a:ext>
                  </a:extLst>
                </a:gridCol>
                <a:gridCol w="4474241">
                  <a:extLst>
                    <a:ext uri="{9D8B030D-6E8A-4147-A177-3AD203B41FA5}">
                      <a16:colId xmlns:a16="http://schemas.microsoft.com/office/drawing/2014/main" val="1569018203"/>
                    </a:ext>
                  </a:extLst>
                </a:gridCol>
                <a:gridCol w="359775">
                  <a:extLst>
                    <a:ext uri="{9D8B030D-6E8A-4147-A177-3AD203B41FA5}">
                      <a16:colId xmlns:a16="http://schemas.microsoft.com/office/drawing/2014/main" val="1444444372"/>
                    </a:ext>
                  </a:extLst>
                </a:gridCol>
                <a:gridCol w="3509635">
                  <a:extLst>
                    <a:ext uri="{9D8B030D-6E8A-4147-A177-3AD203B41FA5}">
                      <a16:colId xmlns:a16="http://schemas.microsoft.com/office/drawing/2014/main" val="3051270826"/>
                    </a:ext>
                  </a:extLst>
                </a:gridCol>
                <a:gridCol w="1286902">
                  <a:extLst>
                    <a:ext uri="{9D8B030D-6E8A-4147-A177-3AD203B41FA5}">
                      <a16:colId xmlns:a16="http://schemas.microsoft.com/office/drawing/2014/main" val="292431431"/>
                    </a:ext>
                  </a:extLst>
                </a:gridCol>
                <a:gridCol w="650060">
                  <a:extLst>
                    <a:ext uri="{9D8B030D-6E8A-4147-A177-3AD203B41FA5}">
                      <a16:colId xmlns:a16="http://schemas.microsoft.com/office/drawing/2014/main" val="445300399"/>
                    </a:ext>
                  </a:extLst>
                </a:gridCol>
              </a:tblGrid>
              <a:tr h="147791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Overall Statu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lobal Template Phase Deliverabl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 Assessment Worksho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verall RA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54087"/>
                  </a:ext>
                </a:extLst>
              </a:tr>
              <a:tr h="273977">
                <a:tc gridSpan="3">
                  <a:txBody>
                    <a:bodyPr/>
                    <a:lstStyle/>
                    <a:p>
                      <a:pPr marL="0" algn="l" defTabSz="914126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tivities/Tasks/Deliverables This Week (Completion Date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1" i="0" u="none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b="1" i="0" u="none" dirty="0">
                          <a:solidFill>
                            <a:schemeClr val="bg1"/>
                          </a:solidFill>
                        </a:rPr>
                        <a:t>Upcoming Activities/Tasks/Deliverables (Completion Date)</a:t>
                      </a:r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 b="1" u="none" kern="1200">
                          <a:solidFill>
                            <a:schemeClr val="bg1"/>
                          </a:solidFill>
                        </a:rPr>
                        <a:t>Status</a:t>
                      </a:r>
                      <a:endParaRPr lang="en-US" sz="1200" b="1" i="0" u="none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141250"/>
                  </a:ext>
                </a:extLst>
              </a:tr>
              <a:tr h="66992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en-IN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d</a:t>
                      </a:r>
                    </a:p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Data extractions of vendors and customers (source client 550) </a:t>
                      </a:r>
                      <a:endParaRPr lang="en-IN" dirty="0"/>
                    </a:p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endParaRPr lang="en-IN" sz="1100" b="0" i="0" u="none" strike="noStrike" kern="1200" baseline="0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endParaRPr kumimoji="1" lang="en-IN" sz="1100" b="0" i="0" u="none" strike="noStrike" kern="1200" noProof="0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b="0" i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IN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 2 weeks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en-I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S Session on data mapping rules (with value stream teams) </a:t>
                      </a:r>
                    </a:p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Completion of data extractions (source client 550) </a:t>
                      </a:r>
                      <a:endParaRPr lang="en-IN" dirty="0"/>
                    </a:p>
                    <a:p>
                      <a:pPr marL="22860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Start data extractions from source clients 160,420 (500?)</a:t>
                      </a:r>
                      <a:endParaRPr lang="en-IN" dirty="0"/>
                    </a:p>
                    <a:p>
                      <a:pPr marL="228600" marR="0" lvl="0" indent="-22860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  <a:tabLst/>
                        <a:defRPr/>
                      </a:pPr>
                      <a:endParaRPr kumimoji="1" lang="en-IN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374350"/>
                  </a:ext>
                </a:extLst>
              </a:tr>
              <a:tr h="502920">
                <a:tc row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I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Progress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Data extractions of materials and classes (source client 550) (20%)</a:t>
                      </a:r>
                      <a:endParaRPr lang="en-US" sz="1600" dirty="0"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IN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4361572"/>
                  </a:ext>
                </a:extLst>
              </a:tr>
              <a:tr h="10696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lang="en-I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ter</a:t>
                      </a:r>
                      <a:endParaRPr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IN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</a:rPr>
                        <a:t>1</a:t>
                      </a:r>
                      <a:r>
                        <a:rPr kumimoji="1" lang="en-IN" sz="1100" b="0" i="0" u="none" strike="noStrike" kern="1200" baseline="0" noProof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.Complete data extractions (clients 160,420) (500?)</a:t>
                      </a:r>
                      <a:endParaRPr kumimoji="1" lang="en-US" sz="1100" b="0" i="0" u="none" strike="noStrike" kern="1200" baseline="0" noProof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6480724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A9149AF6-A4AA-3DF5-0616-74AC7157EF07}"/>
              </a:ext>
            </a:extLst>
          </p:cNvPr>
          <p:cNvSpPr/>
          <p:nvPr/>
        </p:nvSpPr>
        <p:spPr>
          <a:xfrm>
            <a:off x="11528583" y="1230236"/>
            <a:ext cx="277091" cy="27037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kumimoji="1" lang="en-US" sz="16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B947541-F7F2-5C72-0954-DBF335B9CC70}"/>
              </a:ext>
            </a:extLst>
          </p:cNvPr>
          <p:cNvSpPr/>
          <p:nvPr/>
        </p:nvSpPr>
        <p:spPr>
          <a:xfrm>
            <a:off x="234910" y="2860425"/>
            <a:ext cx="182880" cy="18288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7880CDF-8653-FCCA-B11E-B7A36B808885}"/>
              </a:ext>
            </a:extLst>
          </p:cNvPr>
          <p:cNvSpPr/>
          <p:nvPr/>
        </p:nvSpPr>
        <p:spPr>
          <a:xfrm>
            <a:off x="6362327" y="2118982"/>
            <a:ext cx="182880" cy="18288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AAC71092-634E-26C1-31AE-55BD3030E9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4012870"/>
              </p:ext>
            </p:extLst>
          </p:nvPr>
        </p:nvGraphicFramePr>
        <p:xfrm>
          <a:off x="109415" y="4616282"/>
          <a:ext cx="11979720" cy="199515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406400">
                  <a:extLst>
                    <a:ext uri="{9D8B030D-6E8A-4147-A177-3AD203B41FA5}">
                      <a16:colId xmlns:a16="http://schemas.microsoft.com/office/drawing/2014/main" val="983783235"/>
                    </a:ext>
                  </a:extLst>
                </a:gridCol>
                <a:gridCol w="3094893">
                  <a:extLst>
                    <a:ext uri="{9D8B030D-6E8A-4147-A177-3AD203B41FA5}">
                      <a16:colId xmlns:a16="http://schemas.microsoft.com/office/drawing/2014/main" val="4069032236"/>
                    </a:ext>
                  </a:extLst>
                </a:gridCol>
                <a:gridCol w="4336271">
                  <a:extLst>
                    <a:ext uri="{9D8B030D-6E8A-4147-A177-3AD203B41FA5}">
                      <a16:colId xmlns:a16="http://schemas.microsoft.com/office/drawing/2014/main" val="285054311"/>
                    </a:ext>
                  </a:extLst>
                </a:gridCol>
                <a:gridCol w="1720257">
                  <a:extLst>
                    <a:ext uri="{9D8B030D-6E8A-4147-A177-3AD203B41FA5}">
                      <a16:colId xmlns:a16="http://schemas.microsoft.com/office/drawing/2014/main" val="4291502908"/>
                    </a:ext>
                  </a:extLst>
                </a:gridCol>
                <a:gridCol w="1219893">
                  <a:extLst>
                    <a:ext uri="{9D8B030D-6E8A-4147-A177-3AD203B41FA5}">
                      <a16:colId xmlns:a16="http://schemas.microsoft.com/office/drawing/2014/main" val="1400953577"/>
                    </a:ext>
                  </a:extLst>
                </a:gridCol>
                <a:gridCol w="1202006">
                  <a:extLst>
                    <a:ext uri="{9D8B030D-6E8A-4147-A177-3AD203B41FA5}">
                      <a16:colId xmlns:a16="http://schemas.microsoft.com/office/drawing/2014/main" val="1066762439"/>
                    </a:ext>
                  </a:extLst>
                </a:gridCol>
              </a:tblGrid>
              <a:tr h="288270">
                <a:tc gridSpan="2">
                  <a:txBody>
                    <a:bodyPr/>
                    <a:lstStyle/>
                    <a:p>
                      <a:pPr marL="0" algn="l" defTabSz="914126" rtl="0" eaLnBrk="1" latinLnBrk="0" hangingPunct="1"/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AID – Risk, Actions, Issues, Decision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indent="0" algn="l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itigation Action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mpact/Probability* </a:t>
                      </a:r>
                      <a:r>
                        <a:rPr lang="en-US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/M/L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sponsibl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solution b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860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dirty="0">
                          <a:latin typeface="+mn-lt"/>
                        </a:rPr>
                        <a:t>I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Decision on transformation/loading tools outstanding (blocker for DM team)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IN" sz="11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ecision needs to be taken (Global Meeting postponed to 05.10.2023). Still no decision in global meeting, replanning might be required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/(hig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obal proje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verdue - asa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0192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dirty="0">
                          <a:latin typeface="+mn-lt"/>
                        </a:rPr>
                        <a:t>I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Data cleansing rules needs to be defined and communicated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IN" sz="11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"Intro to Data Migration – new Data Governance rules, how to map and clean data session" to be conducted (planned for Oct, 10th)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dium/medi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lobal proje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ct. 1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8536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IN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2942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IN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endParaRPr lang="en-US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6212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C0D9063-8A53-256E-B526-58981EB2917D}"/>
              </a:ext>
            </a:extLst>
          </p:cNvPr>
          <p:cNvSpPr txBox="1"/>
          <p:nvPr/>
        </p:nvSpPr>
        <p:spPr>
          <a:xfrm>
            <a:off x="9067800" y="187575"/>
            <a:ext cx="1699824" cy="446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45720" tIns="91440" rIns="91440" bIns="45720" rtlCol="0" anchor="t" anchorCtr="0">
            <a:spAutoFit/>
          </a:bodyPr>
          <a:lstStyle/>
          <a:p>
            <a:r>
              <a:rPr lang="en-US" sz="1000">
                <a:solidFill>
                  <a:sysClr val="windowText" lastClr="000000"/>
                </a:solidFill>
              </a:rPr>
              <a:t>Reported by Armin Schmidt</a:t>
            </a:r>
            <a:endParaRPr lang="en-US" sz="1000">
              <a:solidFill>
                <a:sysClr val="windowText" lastClr="000000"/>
              </a:solidFill>
              <a:cs typeface="Arial"/>
            </a:endParaRPr>
          </a:p>
          <a:p>
            <a:pPr algn="l"/>
            <a:r>
              <a:rPr lang="pl-PL" sz="1000">
                <a:solidFill>
                  <a:sysClr val="windowText" lastClr="000000"/>
                </a:solidFill>
              </a:rPr>
              <a:t>6 </a:t>
            </a:r>
            <a:r>
              <a:rPr lang="pl-PL" sz="1000" err="1">
                <a:solidFill>
                  <a:sysClr val="windowText" lastClr="000000"/>
                </a:solidFill>
              </a:rPr>
              <a:t>October</a:t>
            </a:r>
            <a:r>
              <a:rPr lang="pl-PL" sz="1000">
                <a:solidFill>
                  <a:sysClr val="windowText" lastClr="000000"/>
                </a:solidFill>
              </a:rPr>
              <a:t> </a:t>
            </a:r>
            <a:r>
              <a:rPr lang="en-US" sz="1000">
                <a:solidFill>
                  <a:sysClr val="windowText" lastClr="000000"/>
                </a:solidFill>
              </a:rPr>
              <a:t>2023</a:t>
            </a:r>
            <a:endParaRPr lang="en-US" sz="1000">
              <a:solidFill>
                <a:sysClr val="windowText" lastClr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8991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one Basic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  <a:ln>
          <a:solidFill>
            <a:schemeClr val="accent1"/>
          </a:solidFill>
        </a:ln>
      </a:spPr>
      <a:bodyPr wrap="none" lIns="45720" tIns="91440" rIns="91440" bIns="45720" rtlCol="0" anchor="t" anchorCtr="0">
        <a:spAutoFit/>
      </a:bodyPr>
      <a:lstStyle>
        <a:defPPr algn="l">
          <a:defRPr dirty="0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2.xml><?xml version="1.0" encoding="utf-8"?>
<a:theme xmlns:a="http://schemas.openxmlformats.org/drawingml/2006/main" name="2_Mone Basic template">
  <a:themeElements>
    <a:clrScheme name="暖かみのある青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72000" rIns="234000" bIns="0" anchor="t" anchorCtr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3.xml><?xml version="1.0" encoding="utf-8"?>
<a:theme xmlns:a="http://schemas.openxmlformats.org/drawingml/2006/main" name="3_Mone Basic template">
  <a:themeElements>
    <a:clrScheme name="暖かみのある青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  <a:ln>
          <a:solidFill>
            <a:schemeClr val="accent1"/>
          </a:solidFill>
        </a:ln>
      </a:spPr>
      <a:bodyPr wrap="none" lIns="45720" tIns="91440" rIns="91440" bIns="45720" rtlCol="0" anchor="t" anchorCtr="0">
        <a:spAutoFit/>
      </a:bodyPr>
      <a:lstStyle>
        <a:defPPr algn="l">
          <a:defRPr dirty="0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4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2aafb33-abec-4b1f-928f-5e4cb63da6bb">
      <Terms xmlns="http://schemas.microsoft.com/office/infopath/2007/PartnerControls"/>
    </lcf76f155ced4ddcb4097134ff3c332f>
    <SharedWithUsers xmlns="ba64286c-83aa-4139-a2c4-6e8d74af62db">
      <UserInfo>
        <DisplayName>Thebes, Manfred</DisplayName>
        <AccountId>251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D81F64C862234AB5F69C9A64B24884" ma:contentTypeVersion="16" ma:contentTypeDescription="Create a new document." ma:contentTypeScope="" ma:versionID="86ab8c302802077d3cd6b5ae011a7e26">
  <xsd:schema xmlns:xsd="http://www.w3.org/2001/XMLSchema" xmlns:xs="http://www.w3.org/2001/XMLSchema" xmlns:p="http://schemas.microsoft.com/office/2006/metadata/properties" xmlns:ns2="62aafb33-abec-4b1f-928f-5e4cb63da6bb" xmlns:ns3="ba64286c-83aa-4139-a2c4-6e8d74af62db" targetNamespace="http://schemas.microsoft.com/office/2006/metadata/properties" ma:root="true" ma:fieldsID="4504c0838b42f4fd148a9f49ac79dc98" ns2:_="" ns3:_="">
    <xsd:import namespace="62aafb33-abec-4b1f-928f-5e4cb63da6bb"/>
    <xsd:import namespace="ba64286c-83aa-4139-a2c4-6e8d74af62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aafb33-abec-4b1f-928f-5e4cb63da6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64286c-83aa-4139-a2c4-6e8d74af62d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65F6DA-EDFD-4C3F-B2EB-EDE359E124E2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ba64286c-83aa-4139-a2c4-6e8d74af62db"/>
    <ds:schemaRef ds:uri="62aafb33-abec-4b1f-928f-5e4cb63da6b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17CC3FF-F09C-4903-B927-A81DA49A65FB}">
  <ds:schemaRefs>
    <ds:schemaRef ds:uri="62aafb33-abec-4b1f-928f-5e4cb63da6bb"/>
    <ds:schemaRef ds:uri="ba64286c-83aa-4139-a2c4-6e8d74af62d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3</Words>
  <Application>Microsoft Office PowerPoint</Application>
  <PresentationFormat>Widescreen</PresentationFormat>
  <Paragraphs>4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Ubuntu</vt:lpstr>
      <vt:lpstr>Arial</vt:lpstr>
      <vt:lpstr>1_Mone Basic template</vt:lpstr>
      <vt:lpstr>2_Mone Basic template</vt:lpstr>
      <vt:lpstr>3_Mone Basic template</vt:lpstr>
      <vt:lpstr>think-cell Slide</vt:lpstr>
      <vt:lpstr>Mone-G Germany Pilot (DM Stream)  Weekly status Report October 2 – october 6</vt:lpstr>
      <vt:lpstr>Data Migration Status 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Capgemini template</dc:subject>
  <dc:creator>Capgemini</dc:creator>
  <cp:lastModifiedBy>Schmidt, Armin</cp:lastModifiedBy>
  <cp:revision>211</cp:revision>
  <dcterms:created xsi:type="dcterms:W3CDTF">2021-06-29T08:37:48Z</dcterms:created>
  <dcterms:modified xsi:type="dcterms:W3CDTF">2023-10-05T15:30:45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D81F64C862234AB5F69C9A64B24884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MediaServiceImageTags">
    <vt:lpwstr/>
  </property>
</Properties>
</file>